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89" r:id="rId2"/>
  </p:sldIdLst>
  <p:sldSz cx="9144000" cy="6858000" type="screen4x3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6E72"/>
    <a:srgbClr val="0094C8"/>
    <a:srgbClr val="D7196A"/>
    <a:srgbClr val="15B0C3"/>
    <a:srgbClr val="15B0CF"/>
    <a:srgbClr val="EC6E72"/>
    <a:srgbClr val="E3DE00"/>
    <a:srgbClr val="B9B600"/>
    <a:srgbClr val="B6B914"/>
    <a:srgbClr val="9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71" autoAdjust="0"/>
    <p:restoredTop sz="75047" autoAdjust="0"/>
  </p:normalViewPr>
  <p:slideViewPr>
    <p:cSldViewPr snapToGrid="0" snapToObjects="1">
      <p:cViewPr varScale="1">
        <p:scale>
          <a:sx n="87" d="100"/>
          <a:sy n="87" d="100"/>
        </p:scale>
        <p:origin x="1450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9D33F-2AA3-4838-AAA7-A6748EC4FF9E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078DE-0EAB-43EC-B0D5-FB8279C2EC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24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147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149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08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00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24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77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894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924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749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92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D01C1-04BE-4996-AB3B-C87F51C2A1D7}" type="datetimeFigureOut">
              <a:rPr lang="en-US" smtClean="0"/>
              <a:t>10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0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Object 8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97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0" name="Group 119"/>
          <p:cNvGrpSpPr/>
          <p:nvPr/>
        </p:nvGrpSpPr>
        <p:grpSpPr>
          <a:xfrm>
            <a:off x="790805" y="1422302"/>
            <a:ext cx="7337990" cy="4847498"/>
            <a:chOff x="538316" y="870216"/>
            <a:chExt cx="8231148" cy="5437519"/>
          </a:xfrm>
        </p:grpSpPr>
        <p:sp>
          <p:nvSpPr>
            <p:cNvPr id="79" name="Freeform 78"/>
            <p:cNvSpPr/>
            <p:nvPr/>
          </p:nvSpPr>
          <p:spPr>
            <a:xfrm>
              <a:off x="975300" y="1279532"/>
              <a:ext cx="823848" cy="823848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32715" tIns="132715" rIns="132715" bIns="132715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Team Form</a:t>
              </a:r>
            </a:p>
          </p:txBody>
        </p:sp>
        <p:sp>
          <p:nvSpPr>
            <p:cNvPr id="40" name="Freeform 39"/>
            <p:cNvSpPr/>
            <p:nvPr/>
          </p:nvSpPr>
          <p:spPr>
            <a:xfrm>
              <a:off x="4928444" y="1054185"/>
              <a:ext cx="948407" cy="823848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32715" tIns="132715" rIns="132715" bIns="132715" numCol="1" spcCol="1270" anchor="ctr" anchorCtr="0">
              <a:noAutofit/>
            </a:bodyPr>
            <a:lstStyle/>
            <a:p>
              <a:pPr lvl="0"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>
                  <a:solidFill>
                    <a:schemeClr val="bg1"/>
                  </a:solidFill>
                </a:rPr>
                <a:t>Points difference</a:t>
              </a:r>
            </a:p>
          </p:txBody>
        </p:sp>
        <p:sp>
          <p:nvSpPr>
            <p:cNvPr id="42" name="Freeform 41"/>
            <p:cNvSpPr/>
            <p:nvPr/>
          </p:nvSpPr>
          <p:spPr>
            <a:xfrm>
              <a:off x="6065448" y="1394856"/>
              <a:ext cx="2367762" cy="1620040"/>
            </a:xfrm>
            <a:custGeom>
              <a:avLst/>
              <a:gdLst>
                <a:gd name="connsiteX0" fmla="*/ 0 w 1701675"/>
                <a:gd name="connsiteY0" fmla="*/ 850838 h 1701675"/>
                <a:gd name="connsiteX1" fmla="*/ 850838 w 1701675"/>
                <a:gd name="connsiteY1" fmla="*/ 0 h 1701675"/>
                <a:gd name="connsiteX2" fmla="*/ 1701676 w 1701675"/>
                <a:gd name="connsiteY2" fmla="*/ 850838 h 1701675"/>
                <a:gd name="connsiteX3" fmla="*/ 850838 w 1701675"/>
                <a:gd name="connsiteY3" fmla="*/ 1701676 h 1701675"/>
                <a:gd name="connsiteX4" fmla="*/ 0 w 1701675"/>
                <a:gd name="connsiteY4" fmla="*/ 850838 h 17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75" h="1701675">
                  <a:moveTo>
                    <a:pt x="0" y="850838"/>
                  </a:moveTo>
                  <a:cubicBezTo>
                    <a:pt x="0" y="380933"/>
                    <a:pt x="380933" y="0"/>
                    <a:pt x="850838" y="0"/>
                  </a:cubicBezTo>
                  <a:cubicBezTo>
                    <a:pt x="1320743" y="0"/>
                    <a:pt x="1701676" y="380933"/>
                    <a:pt x="1701676" y="850838"/>
                  </a:cubicBezTo>
                  <a:cubicBezTo>
                    <a:pt x="1701676" y="1320743"/>
                    <a:pt x="1320743" y="1701676"/>
                    <a:pt x="850838" y="1701676"/>
                  </a:cubicBezTo>
                  <a:cubicBezTo>
                    <a:pt x="380933" y="1701676"/>
                    <a:pt x="0" y="1320743"/>
                    <a:pt x="0" y="850838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73970" tIns="273970" rIns="273970" bIns="273970" numCol="1" spcCol="1270" anchor="ctr" anchorCtr="0">
              <a:noAutofit/>
            </a:bodyPr>
            <a:lstStyle/>
            <a:p>
              <a:pPr algn="ctr" defTabSz="1733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accent1">
                      <a:lumMod val="50000"/>
                    </a:schemeClr>
                  </a:solidFill>
                </a:rPr>
                <a:t>Classification Problem</a:t>
              </a:r>
            </a:p>
          </p:txBody>
        </p:sp>
        <p:sp>
          <p:nvSpPr>
            <p:cNvPr id="46" name="Freeform 45"/>
            <p:cNvSpPr/>
            <p:nvPr/>
          </p:nvSpPr>
          <p:spPr>
            <a:xfrm>
              <a:off x="6233162" y="4018951"/>
              <a:ext cx="2150375" cy="1640478"/>
            </a:xfrm>
            <a:custGeom>
              <a:avLst/>
              <a:gdLst>
                <a:gd name="connsiteX0" fmla="*/ 0 w 1511613"/>
                <a:gd name="connsiteY0" fmla="*/ 755807 h 1511613"/>
                <a:gd name="connsiteX1" fmla="*/ 755807 w 1511613"/>
                <a:gd name="connsiteY1" fmla="*/ 0 h 1511613"/>
                <a:gd name="connsiteX2" fmla="*/ 1511614 w 1511613"/>
                <a:gd name="connsiteY2" fmla="*/ 755807 h 1511613"/>
                <a:gd name="connsiteX3" fmla="*/ 755807 w 1511613"/>
                <a:gd name="connsiteY3" fmla="*/ 1511614 h 1511613"/>
                <a:gd name="connsiteX4" fmla="*/ 0 w 1511613"/>
                <a:gd name="connsiteY4" fmla="*/ 755807 h 151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613" h="1511613">
                  <a:moveTo>
                    <a:pt x="0" y="755807"/>
                  </a:moveTo>
                  <a:cubicBezTo>
                    <a:pt x="0" y="338386"/>
                    <a:pt x="338386" y="0"/>
                    <a:pt x="755807" y="0"/>
                  </a:cubicBezTo>
                  <a:cubicBezTo>
                    <a:pt x="1173228" y="0"/>
                    <a:pt x="1511614" y="338386"/>
                    <a:pt x="1511614" y="755807"/>
                  </a:cubicBezTo>
                  <a:cubicBezTo>
                    <a:pt x="1511614" y="1173228"/>
                    <a:pt x="1173228" y="1511614"/>
                    <a:pt x="755807" y="1511614"/>
                  </a:cubicBezTo>
                  <a:cubicBezTo>
                    <a:pt x="338386" y="1511614"/>
                    <a:pt x="0" y="1173228"/>
                    <a:pt x="0" y="755807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62011" tIns="262011" rIns="262011" bIns="262011" numCol="1" spcCol="1270" anchor="ctr" anchorCtr="0">
              <a:noAutofit/>
            </a:bodyPr>
            <a:lstStyle/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kern="1200" dirty="0">
                  <a:solidFill>
                    <a:schemeClr val="accent1">
                      <a:lumMod val="50000"/>
                    </a:schemeClr>
                  </a:solidFill>
                </a:rPr>
                <a:t>Labels to predict </a:t>
              </a:r>
            </a:p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accent1">
                      <a:lumMod val="50000"/>
                    </a:schemeClr>
                  </a:solidFill>
                </a:rPr>
                <a:t>H – Home Win</a:t>
              </a:r>
            </a:p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kern="1200" dirty="0">
                  <a:solidFill>
                    <a:schemeClr val="accent1">
                      <a:lumMod val="50000"/>
                    </a:schemeClr>
                  </a:solidFill>
                </a:rPr>
                <a:t>A</a:t>
              </a:r>
              <a:r>
                <a:rPr lang="en-US" sz="1500" b="1" dirty="0">
                  <a:solidFill>
                    <a:schemeClr val="accent1">
                      <a:lumMod val="50000"/>
                    </a:schemeClr>
                  </a:solidFill>
                </a:rPr>
                <a:t> – Away Win</a:t>
              </a:r>
            </a:p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kern="1200" dirty="0">
                  <a:solidFill>
                    <a:schemeClr val="accent1">
                      <a:lumMod val="50000"/>
                    </a:schemeClr>
                  </a:solidFill>
                </a:rPr>
                <a:t>D - Draw</a:t>
              </a:r>
            </a:p>
          </p:txBody>
        </p:sp>
        <p:sp>
          <p:nvSpPr>
            <p:cNvPr id="48" name="Freeform 47"/>
            <p:cNvSpPr/>
            <p:nvPr/>
          </p:nvSpPr>
          <p:spPr>
            <a:xfrm>
              <a:off x="5898265" y="5469737"/>
              <a:ext cx="823848" cy="823848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44780" tIns="144780" rIns="144780" bIns="144780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>
                  <a:solidFill>
                    <a:schemeClr val="bg1"/>
                  </a:solidFill>
                </a:rPr>
                <a:t>Away Team Points</a:t>
              </a:r>
            </a:p>
          </p:txBody>
        </p:sp>
        <p:sp>
          <p:nvSpPr>
            <p:cNvPr id="52" name="Freeform 51"/>
            <p:cNvSpPr/>
            <p:nvPr/>
          </p:nvSpPr>
          <p:spPr>
            <a:xfrm>
              <a:off x="3372082" y="4688733"/>
              <a:ext cx="1619002" cy="1619002"/>
            </a:xfrm>
            <a:custGeom>
              <a:avLst/>
              <a:gdLst>
                <a:gd name="connsiteX0" fmla="*/ 0 w 1619002"/>
                <a:gd name="connsiteY0" fmla="*/ 809501 h 1619002"/>
                <a:gd name="connsiteX1" fmla="*/ 809501 w 1619002"/>
                <a:gd name="connsiteY1" fmla="*/ 0 h 1619002"/>
                <a:gd name="connsiteX2" fmla="*/ 1619002 w 1619002"/>
                <a:gd name="connsiteY2" fmla="*/ 809501 h 1619002"/>
                <a:gd name="connsiteX3" fmla="*/ 809501 w 1619002"/>
                <a:gd name="connsiteY3" fmla="*/ 1619002 h 1619002"/>
                <a:gd name="connsiteX4" fmla="*/ 0 w 1619002"/>
                <a:gd name="connsiteY4" fmla="*/ 809501 h 161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002" h="1619002">
                  <a:moveTo>
                    <a:pt x="0" y="809501"/>
                  </a:moveTo>
                  <a:cubicBezTo>
                    <a:pt x="0" y="362426"/>
                    <a:pt x="362426" y="0"/>
                    <a:pt x="809501" y="0"/>
                  </a:cubicBezTo>
                  <a:cubicBezTo>
                    <a:pt x="1256576" y="0"/>
                    <a:pt x="1619002" y="362426"/>
                    <a:pt x="1619002" y="809501"/>
                  </a:cubicBezTo>
                  <a:cubicBezTo>
                    <a:pt x="1619002" y="1256576"/>
                    <a:pt x="1256576" y="1619002"/>
                    <a:pt x="809501" y="1619002"/>
                  </a:cubicBezTo>
                  <a:cubicBezTo>
                    <a:pt x="362426" y="1619002"/>
                    <a:pt x="0" y="1256576"/>
                    <a:pt x="0" y="809501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77737" tIns="277737" rIns="277737" bIns="277737" numCol="1" spcCol="1270" anchor="ctr" anchorCtr="0">
              <a:noAutofit/>
            </a:bodyPr>
            <a:lstStyle/>
            <a:p>
              <a:pPr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accent1">
                      <a:lumMod val="50000"/>
                    </a:schemeClr>
                  </a:solidFill>
                </a:rPr>
                <a:t>65 columns needs cleaning to max 15</a:t>
              </a:r>
            </a:p>
          </p:txBody>
        </p:sp>
        <p:sp>
          <p:nvSpPr>
            <p:cNvPr id="54" name="Freeform 53"/>
            <p:cNvSpPr/>
            <p:nvPr/>
          </p:nvSpPr>
          <p:spPr>
            <a:xfrm>
              <a:off x="1013402" y="5480552"/>
              <a:ext cx="823848" cy="823848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44780" tIns="144780" rIns="144780" bIns="144780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>
                  <a:solidFill>
                    <a:schemeClr val="bg1"/>
                  </a:solidFill>
                </a:rPr>
                <a:t>Home Team Points</a:t>
              </a:r>
            </a:p>
          </p:txBody>
        </p:sp>
        <p:sp>
          <p:nvSpPr>
            <p:cNvPr id="58" name="Freeform 57"/>
            <p:cNvSpPr/>
            <p:nvPr/>
          </p:nvSpPr>
          <p:spPr>
            <a:xfrm>
              <a:off x="538316" y="2655431"/>
              <a:ext cx="1765037" cy="1765037"/>
            </a:xfrm>
            <a:custGeom>
              <a:avLst/>
              <a:gdLst>
                <a:gd name="connsiteX0" fmla="*/ 0 w 1765037"/>
                <a:gd name="connsiteY0" fmla="*/ 882519 h 1765037"/>
                <a:gd name="connsiteX1" fmla="*/ 882519 w 1765037"/>
                <a:gd name="connsiteY1" fmla="*/ 0 h 1765037"/>
                <a:gd name="connsiteX2" fmla="*/ 1765038 w 1765037"/>
                <a:gd name="connsiteY2" fmla="*/ 882519 h 1765037"/>
                <a:gd name="connsiteX3" fmla="*/ 882519 w 1765037"/>
                <a:gd name="connsiteY3" fmla="*/ 1765038 h 1765037"/>
                <a:gd name="connsiteX4" fmla="*/ 0 w 1765037"/>
                <a:gd name="connsiteY4" fmla="*/ 882519 h 1765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5037" h="1765037">
                  <a:moveTo>
                    <a:pt x="0" y="882519"/>
                  </a:moveTo>
                  <a:cubicBezTo>
                    <a:pt x="0" y="395117"/>
                    <a:pt x="395117" y="0"/>
                    <a:pt x="882519" y="0"/>
                  </a:cubicBezTo>
                  <a:cubicBezTo>
                    <a:pt x="1369921" y="0"/>
                    <a:pt x="1765038" y="395117"/>
                    <a:pt x="1765038" y="882519"/>
                  </a:cubicBezTo>
                  <a:cubicBezTo>
                    <a:pt x="1765038" y="1369921"/>
                    <a:pt x="1369921" y="1765038"/>
                    <a:pt x="882519" y="1765038"/>
                  </a:cubicBezTo>
                  <a:cubicBezTo>
                    <a:pt x="395117" y="1765038"/>
                    <a:pt x="0" y="1369921"/>
                    <a:pt x="0" y="882519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99124" tIns="299124" rIns="299124" bIns="299124" numCol="1" spcCol="1270" anchor="ctr" anchorCtr="0">
              <a:noAutofit/>
            </a:bodyPr>
            <a:lstStyle/>
            <a:p>
              <a:pPr lvl="0" algn="ctr" defTabSz="28448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accent1">
                      <a:lumMod val="50000"/>
                    </a:schemeClr>
                  </a:solidFill>
                </a:rPr>
                <a:t>6840 rows of data – one for each match</a:t>
              </a:r>
              <a:endParaRPr lang="en-US" sz="1500" b="1" kern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118" name="Group 117"/>
            <p:cNvGrpSpPr/>
            <p:nvPr/>
          </p:nvGrpSpPr>
          <p:grpSpPr>
            <a:xfrm>
              <a:off x="1461778" y="1818039"/>
              <a:ext cx="6281111" cy="3938572"/>
              <a:chOff x="1461778" y="1818039"/>
              <a:chExt cx="6281111" cy="3938572"/>
            </a:xfrm>
          </p:grpSpPr>
          <p:sp>
            <p:nvSpPr>
              <p:cNvPr id="39" name="Freeform 38"/>
              <p:cNvSpPr/>
              <p:nvPr/>
            </p:nvSpPr>
            <p:spPr>
              <a:xfrm rot="17190750">
                <a:off x="4300393" y="2592654"/>
                <a:ext cx="1571205" cy="21976"/>
              </a:xfrm>
              <a:custGeom>
                <a:avLst/>
                <a:gdLst>
                  <a:gd name="connsiteX0" fmla="*/ 0 w 1571205"/>
                  <a:gd name="connsiteY0" fmla="*/ 10987 h 21975"/>
                  <a:gd name="connsiteX1" fmla="*/ 1571205 w 1571205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1205" h="21975">
                    <a:moveTo>
                      <a:pt x="0" y="10987"/>
                    </a:moveTo>
                    <a:lnTo>
                      <a:pt x="1571205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59021" tIns="-28292" rIns="759023" bIns="-28294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41" name="Freeform 40"/>
              <p:cNvSpPr/>
              <p:nvPr/>
            </p:nvSpPr>
            <p:spPr>
              <a:xfrm rot="19523077">
                <a:off x="4840054" y="3000854"/>
                <a:ext cx="1505488" cy="73476"/>
              </a:xfrm>
              <a:custGeom>
                <a:avLst/>
                <a:gdLst>
                  <a:gd name="connsiteX0" fmla="*/ 0 w 978163"/>
                  <a:gd name="connsiteY0" fmla="*/ 10987 h 21975"/>
                  <a:gd name="connsiteX1" fmla="*/ 978163 w 978163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8163" h="21975">
                    <a:moveTo>
                      <a:pt x="0" y="10987"/>
                    </a:moveTo>
                    <a:lnTo>
                      <a:pt x="978163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77326" tIns="-13467" rIns="477328" bIns="-13467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45" name="Freeform 44"/>
              <p:cNvSpPr/>
              <p:nvPr/>
            </p:nvSpPr>
            <p:spPr>
              <a:xfrm rot="1490367">
                <a:off x="4926731" y="4143166"/>
                <a:ext cx="1443103" cy="21975"/>
              </a:xfrm>
              <a:custGeom>
                <a:avLst/>
                <a:gdLst>
                  <a:gd name="connsiteX0" fmla="*/ 0 w 1443103"/>
                  <a:gd name="connsiteY0" fmla="*/ 10987 h 21975"/>
                  <a:gd name="connsiteX1" fmla="*/ 1443103 w 1443103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3103" h="21975">
                    <a:moveTo>
                      <a:pt x="0" y="10987"/>
                    </a:moveTo>
                    <a:lnTo>
                      <a:pt x="1443103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98174" tIns="-25091" rIns="698173" bIns="-25090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47" name="Freeform 46"/>
              <p:cNvSpPr/>
              <p:nvPr/>
            </p:nvSpPr>
            <p:spPr>
              <a:xfrm rot="3150393">
                <a:off x="4488151" y="4768846"/>
                <a:ext cx="1953554" cy="21975"/>
              </a:xfrm>
              <a:custGeom>
                <a:avLst/>
                <a:gdLst>
                  <a:gd name="connsiteX0" fmla="*/ 0 w 1953554"/>
                  <a:gd name="connsiteY0" fmla="*/ 10987 h 21975"/>
                  <a:gd name="connsiteX1" fmla="*/ 1953554 w 1953554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53554" h="21975">
                    <a:moveTo>
                      <a:pt x="0" y="10987"/>
                    </a:moveTo>
                    <a:lnTo>
                      <a:pt x="1953554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40638" tIns="-37851" rIns="940638" bIns="-37852" numCol="1" spcCol="1270" anchor="ctr" anchorCtr="0">
                <a:noAutofit/>
              </a:bodyPr>
              <a:lstStyle/>
              <a:p>
                <a:pPr lvl="0" algn="ctr" defTabSz="311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700" kern="1200"/>
              </a:p>
            </p:txBody>
          </p:sp>
          <p:sp>
            <p:nvSpPr>
              <p:cNvPr id="51" name="Freeform 50"/>
              <p:cNvSpPr/>
              <p:nvPr/>
            </p:nvSpPr>
            <p:spPr>
              <a:xfrm rot="17011936">
                <a:off x="4121751" y="4383862"/>
                <a:ext cx="650779" cy="21976"/>
              </a:xfrm>
              <a:custGeom>
                <a:avLst/>
                <a:gdLst>
                  <a:gd name="connsiteX0" fmla="*/ 0 w 650778"/>
                  <a:gd name="connsiteY0" fmla="*/ 10987 h 21975"/>
                  <a:gd name="connsiteX1" fmla="*/ 650778 w 650778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0778" h="21975">
                    <a:moveTo>
                      <a:pt x="650778" y="10988"/>
                    </a:moveTo>
                    <a:lnTo>
                      <a:pt x="0" y="10988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21819" tIns="-5282" rIns="321821" bIns="-5281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53" name="Freeform 52"/>
              <p:cNvSpPr/>
              <p:nvPr/>
            </p:nvSpPr>
            <p:spPr>
              <a:xfrm rot="19510789">
                <a:off x="1461778" y="4439151"/>
                <a:ext cx="3598530" cy="591129"/>
              </a:xfrm>
              <a:custGeom>
                <a:avLst/>
                <a:gdLst>
                  <a:gd name="connsiteX0" fmla="*/ 0 w 1991134"/>
                  <a:gd name="connsiteY0" fmla="*/ 10987 h 21975"/>
                  <a:gd name="connsiteX1" fmla="*/ 1991134 w 1991134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91134" h="21975">
                    <a:moveTo>
                      <a:pt x="1991134" y="10988"/>
                    </a:moveTo>
                    <a:lnTo>
                      <a:pt x="0" y="10988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58488" tIns="-38790" rIns="958490" bIns="-38790" numCol="1" spcCol="1270" anchor="ctr" anchorCtr="0">
                <a:noAutofit/>
              </a:bodyPr>
              <a:lstStyle/>
              <a:p>
                <a:pPr lvl="0" algn="ctr" defTabSz="311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700" kern="1200"/>
              </a:p>
            </p:txBody>
          </p:sp>
          <p:sp>
            <p:nvSpPr>
              <p:cNvPr id="55" name="Freeform 54"/>
              <p:cNvSpPr/>
              <p:nvPr/>
            </p:nvSpPr>
            <p:spPr>
              <a:xfrm rot="21273004" flipH="1" flipV="1">
                <a:off x="4702040" y="1831018"/>
                <a:ext cx="3040849" cy="3732149"/>
              </a:xfrm>
              <a:custGeom>
                <a:avLst/>
                <a:gdLst>
                  <a:gd name="connsiteX0" fmla="*/ 0 w 702625"/>
                  <a:gd name="connsiteY0" fmla="*/ 10987 h 21975"/>
                  <a:gd name="connsiteX1" fmla="*/ 702625 w 702625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2625" h="21975">
                    <a:moveTo>
                      <a:pt x="702625" y="10988"/>
                    </a:moveTo>
                    <a:lnTo>
                      <a:pt x="0" y="10988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46446" tIns="-6578" rIns="346448" bIns="-6578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57" name="Freeform 56"/>
              <p:cNvSpPr/>
              <p:nvPr/>
            </p:nvSpPr>
            <p:spPr>
              <a:xfrm rot="217451" flipV="1">
                <a:off x="2301274" y="3551724"/>
                <a:ext cx="1911573" cy="51284"/>
              </a:xfrm>
              <a:custGeom>
                <a:avLst/>
                <a:gdLst>
                  <a:gd name="connsiteX0" fmla="*/ 0 w 946482"/>
                  <a:gd name="connsiteY0" fmla="*/ 10987 h 21975"/>
                  <a:gd name="connsiteX1" fmla="*/ 946482 w 946482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46482" h="21975">
                    <a:moveTo>
                      <a:pt x="946482" y="10988"/>
                    </a:moveTo>
                    <a:lnTo>
                      <a:pt x="0" y="10988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62279" tIns="-12675" rIns="462279" bIns="-12674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61" name="Freeform 60"/>
              <p:cNvSpPr/>
              <p:nvPr/>
            </p:nvSpPr>
            <p:spPr>
              <a:xfrm rot="3981378">
                <a:off x="3871625" y="2908590"/>
                <a:ext cx="832004" cy="21976"/>
              </a:xfrm>
              <a:custGeom>
                <a:avLst/>
                <a:gdLst>
                  <a:gd name="connsiteX0" fmla="*/ 0 w 832004"/>
                  <a:gd name="connsiteY0" fmla="*/ 10987 h 21975"/>
                  <a:gd name="connsiteX1" fmla="*/ 832004 w 832004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2004" h="21975">
                    <a:moveTo>
                      <a:pt x="832004" y="10988"/>
                    </a:moveTo>
                    <a:lnTo>
                      <a:pt x="0" y="10988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7902" tIns="-9813" rIns="407901" bIns="-9812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</p:grpSp>
        <p:sp>
          <p:nvSpPr>
            <p:cNvPr id="62" name="Freeform 61"/>
            <p:cNvSpPr/>
            <p:nvPr/>
          </p:nvSpPr>
          <p:spPr>
            <a:xfrm>
              <a:off x="2787069" y="870216"/>
              <a:ext cx="1843983" cy="1817172"/>
            </a:xfrm>
            <a:custGeom>
              <a:avLst/>
              <a:gdLst>
                <a:gd name="connsiteX0" fmla="*/ 0 w 1844275"/>
                <a:gd name="connsiteY0" fmla="*/ 922138 h 1844275"/>
                <a:gd name="connsiteX1" fmla="*/ 922138 w 1844275"/>
                <a:gd name="connsiteY1" fmla="*/ 0 h 1844275"/>
                <a:gd name="connsiteX2" fmla="*/ 1844276 w 1844275"/>
                <a:gd name="connsiteY2" fmla="*/ 922138 h 1844275"/>
                <a:gd name="connsiteX3" fmla="*/ 922138 w 1844275"/>
                <a:gd name="connsiteY3" fmla="*/ 1844276 h 1844275"/>
                <a:gd name="connsiteX4" fmla="*/ 0 w 1844275"/>
                <a:gd name="connsiteY4" fmla="*/ 922138 h 1844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4275" h="1844275">
                  <a:moveTo>
                    <a:pt x="0" y="922138"/>
                  </a:moveTo>
                  <a:cubicBezTo>
                    <a:pt x="0" y="412855"/>
                    <a:pt x="412855" y="0"/>
                    <a:pt x="922138" y="0"/>
                  </a:cubicBezTo>
                  <a:cubicBezTo>
                    <a:pt x="1431421" y="0"/>
                    <a:pt x="1844276" y="412855"/>
                    <a:pt x="1844276" y="922138"/>
                  </a:cubicBezTo>
                  <a:cubicBezTo>
                    <a:pt x="1844276" y="1431421"/>
                    <a:pt x="1431421" y="1844276"/>
                    <a:pt x="922138" y="1844276"/>
                  </a:cubicBezTo>
                  <a:cubicBezTo>
                    <a:pt x="412855" y="1844276"/>
                    <a:pt x="0" y="1431421"/>
                    <a:pt x="0" y="922138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310728" tIns="310728" rIns="310728" bIns="310728" numCol="1" spcCol="1270" anchor="ctr" anchorCtr="0">
              <a:noAutofit/>
            </a:bodyPr>
            <a:lstStyle/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kern="1200" dirty="0">
                  <a:solidFill>
                    <a:schemeClr val="accent1">
                      <a:lumMod val="50000"/>
                    </a:schemeClr>
                  </a:solidFill>
                </a:rPr>
                <a:t>Seasons 2000/01 – 2018/19</a:t>
              </a: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7695279" y="3165440"/>
              <a:ext cx="1074185" cy="823848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44780" tIns="144780" rIns="144780" bIns="144780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>
                  <a:solidFill>
                    <a:schemeClr val="bg1"/>
                  </a:solidFill>
                </a:rPr>
                <a:t>Goal difference</a:t>
              </a:r>
            </a:p>
          </p:txBody>
        </p:sp>
        <p:sp>
          <p:nvSpPr>
            <p:cNvPr id="89" name="Freeform 88"/>
            <p:cNvSpPr/>
            <p:nvPr/>
          </p:nvSpPr>
          <p:spPr>
            <a:xfrm>
              <a:off x="3905711" y="2963515"/>
              <a:ext cx="1620039" cy="1620039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tx2">
                      <a:lumMod val="50000"/>
                    </a:schemeClr>
                  </a:solidFill>
                  <a:effectLst>
                    <a:innerShdw blurRad="114300">
                      <a:prstClr val="black"/>
                    </a:innerShdw>
                  </a:effectLst>
                </a:rPr>
                <a:t>Premier League Results </a:t>
              </a:r>
            </a:p>
          </p:txBody>
        </p:sp>
      </p:grpSp>
      <p:sp>
        <p:nvSpPr>
          <p:cNvPr id="119" name="Title 15"/>
          <p:cNvSpPr>
            <a:spLocks noGrp="1"/>
          </p:cNvSpPr>
          <p:nvPr>
            <p:ph type="title"/>
          </p:nvPr>
        </p:nvSpPr>
        <p:spPr>
          <a:xfrm>
            <a:off x="457200" y="5392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dicting the winning team – Premier League</a:t>
            </a:r>
          </a:p>
        </p:txBody>
      </p:sp>
      <p:sp>
        <p:nvSpPr>
          <p:cNvPr id="63" name="Freeform 52">
            <a:extLst>
              <a:ext uri="{FF2B5EF4-FFF2-40B4-BE49-F238E27FC236}">
                <a16:creationId xmlns:a16="http://schemas.microsoft.com/office/drawing/2014/main" id="{22DA063A-9760-4167-A649-4AD41EB8DCE2}"/>
              </a:ext>
            </a:extLst>
          </p:cNvPr>
          <p:cNvSpPr/>
          <p:nvPr/>
        </p:nvSpPr>
        <p:spPr>
          <a:xfrm rot="1833333">
            <a:off x="1662599" y="2660626"/>
            <a:ext cx="2472369" cy="526986"/>
          </a:xfrm>
          <a:custGeom>
            <a:avLst/>
            <a:gdLst>
              <a:gd name="connsiteX0" fmla="*/ 0 w 1991134"/>
              <a:gd name="connsiteY0" fmla="*/ 10987 h 21975"/>
              <a:gd name="connsiteX1" fmla="*/ 1991134 w 1991134"/>
              <a:gd name="connsiteY1" fmla="*/ 10987 h 2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91134" h="21975">
                <a:moveTo>
                  <a:pt x="1991134" y="10988"/>
                </a:moveTo>
                <a:lnTo>
                  <a:pt x="0" y="1098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58488" tIns="-38790" rIns="958490" bIns="-38790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kern="1200"/>
          </a:p>
        </p:txBody>
      </p:sp>
    </p:spTree>
    <p:extLst>
      <p:ext uri="{BB962C8B-B14F-4D97-AF65-F5344CB8AC3E}">
        <p14:creationId xmlns:p14="http://schemas.microsoft.com/office/powerpoint/2010/main" val="2831505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2" val="925573dd58cd5a69add879f5993032275b8827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40-converging-arrows-powerpoint-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46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140-converging-arrows-powerpoint-template</Template>
  <TotalTime>1537</TotalTime>
  <Words>58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140-converging-arrows-powerpoint-template</vt:lpstr>
      <vt:lpstr>think-cell Slide</vt:lpstr>
      <vt:lpstr>Predicting the winning team – Premier Leagu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verging Arrows Template</dc:title>
  <dc:creator>SlideHunter</dc:creator>
  <cp:lastModifiedBy>Russell</cp:lastModifiedBy>
  <cp:revision>153</cp:revision>
  <dcterms:created xsi:type="dcterms:W3CDTF">2013-07-28T22:59:31Z</dcterms:created>
  <dcterms:modified xsi:type="dcterms:W3CDTF">2018-10-14T10:46:56Z</dcterms:modified>
</cp:coreProperties>
</file>